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545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4" d="100"/>
          <a:sy n="64" d="100"/>
        </p:scale>
        <p:origin x="90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BDC63B-67F7-4B31-B77C-030E74221B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145A71E-5665-462E-B5B1-BB5C1B9E5A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CA0A58-759D-4BEC-9043-66500DF210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CC5E7-1FC4-49E9-B186-039A343439BE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44E4E2-CF16-4A62-9C89-877113C057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A8C2A9-B647-4AAD-8EC9-280529AFC3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24D56-802A-4823-BB7E-27541EE57F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601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8A21C2-B120-43DF-B238-FD74AC0F3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29BAF41-A4C8-4D60-B661-E1C6BD6226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D703B6-C22C-4D9B-ADBD-98B834C9BB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CC5E7-1FC4-49E9-B186-039A343439BE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858A96-F5DE-4805-BF64-A5687944A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ADFB9F-2966-4DB2-9A0B-1DD31F5C3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24D56-802A-4823-BB7E-27541EE57F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8319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D98DB0D-A85C-478C-9969-398AFDCE12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1A4145C-91CA-41EE-A1EA-440D7BE918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E11530-ED05-4492-A5FF-FFD8C3C908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CC5E7-1FC4-49E9-B186-039A343439BE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5FBB2C-10CB-4E57-99C8-DB1A1EAF23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15B27-86D2-4F1E-979A-936FF406E9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24D56-802A-4823-BB7E-27541EE57F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861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0E5548-FB8D-4132-8447-7E88BBE164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76A13C-A022-4F99-9818-76768CE00B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572F3A-DD9D-4B2E-8689-0ABF0277B4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CC5E7-1FC4-49E9-B186-039A343439BE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F43B7D-72DA-4CEE-92E1-BD2CA9C66E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88BEE6-EB1B-4E8A-86D9-8850EA261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24D56-802A-4823-BB7E-27541EE57F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6682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57A3C-E2C4-45CC-9634-7B05C8C1B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421D3E-51D5-4DAE-9D25-807F58566A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F9D763-9ED1-4DCE-8C29-86A29182E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CC5E7-1FC4-49E9-B186-039A343439BE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E682E-D431-443C-BDFA-E52E37B94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0F4CB6-092E-4934-9C72-A05206432C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24D56-802A-4823-BB7E-27541EE57F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3027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2DF228-656D-47AE-AFCD-23E55DBA8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2B3DE2-B9EC-4913-8E0F-25C190EFA5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47A74F-254C-42DF-AC4A-E8701D4F89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FE5F5A-0779-4818-BBD1-9B91FF014C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CC5E7-1FC4-49E9-B186-039A343439BE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CD56E4-7063-436D-8F53-BD4674E04F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FE0470-C25C-45A9-9DC5-EE718FEB6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24D56-802A-4823-BB7E-27541EE57F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7509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43426B-75C1-4844-8F10-C381C4A9A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58B6AF-30C3-4906-B821-D0337D785C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3ADE012-D8DF-44A6-9865-CFB9FF6ABB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965217-07B3-42C6-A927-4C052B3A28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F92B184-E030-49A7-A850-CE4D14793F2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B80262-81D7-4BC1-AB18-5E8BB44F09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CC5E7-1FC4-49E9-B186-039A343439BE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BF6A7EA-F55C-4080-B32D-E7F68BF084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82E316-8861-4613-87E7-BAEEB83A8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24D56-802A-4823-BB7E-27541EE57F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5671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12713-0DD7-4632-94CB-362B56D8F3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7A007B-AE08-48A4-AF4B-3489DF6F0C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CC5E7-1FC4-49E9-B186-039A343439BE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F0D7FF-F91A-4D6A-A3B5-78FA91B813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2030E9-F220-4DBE-B5E3-5E2BFB5A4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24D56-802A-4823-BB7E-27541EE57F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9971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294818-FC93-4237-AD51-0FA4780A8D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CC5E7-1FC4-49E9-B186-039A343439BE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826CAC-FB46-49D4-90F2-3A274E77EC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73D869-8EE6-41BD-AFFD-8841B8988C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24D56-802A-4823-BB7E-27541EE57F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981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B63C7A-2630-4516-B2E0-93067E8B8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4FA6C7-A6F8-4058-8DBB-2D691C9B07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FE92D9-A381-4EA2-8967-021C955DA7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008C86-A3AF-4BEA-B7C4-F526AEADE4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CC5E7-1FC4-49E9-B186-039A343439BE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934892-8DEA-437D-9022-6EF9FD7D43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1AE1E9-64E5-438D-9AAD-DB2A5FDADC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24D56-802A-4823-BB7E-27541EE57F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0329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1972E8-389C-4898-BB81-B555C8224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92085F-F5EB-4AE9-8303-788738D06E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02B477-D666-4AED-A62C-1B4BE063FD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19D945-BA68-49EE-A54C-CA8CDDB2AE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CC5E7-1FC4-49E9-B186-039A343439BE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D8B6C6-DE93-4FBA-A41F-4CED7105C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BEC862-72C3-4A4E-9767-67A7749045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24D56-802A-4823-BB7E-27541EE57F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5242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5500543-A634-4FBD-808A-7C77F4687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9AABDD-EC4B-416C-BA9A-57D41A501A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B0ACC5-65C0-4C0D-BE72-525EFB45FC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0CC5E7-1FC4-49E9-B186-039A343439BE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E51592-AA4A-45F5-8D39-ADF41EF5A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AD7E00-116B-400B-9CFD-8AF7CE3187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A24D56-802A-4823-BB7E-27541EE57F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620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5C25ECB-E242-4800-8079-90083F4BF02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6666328"/>
              </p:ext>
            </p:extLst>
          </p:nvPr>
        </p:nvGraphicFramePr>
        <p:xfrm>
          <a:off x="0" y="0"/>
          <a:ext cx="6670629" cy="722109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44143">
                  <a:extLst>
                    <a:ext uri="{9D8B030D-6E8A-4147-A177-3AD203B41FA5}">
                      <a16:colId xmlns:a16="http://schemas.microsoft.com/office/drawing/2014/main" val="2677291272"/>
                    </a:ext>
                  </a:extLst>
                </a:gridCol>
                <a:gridCol w="344143">
                  <a:extLst>
                    <a:ext uri="{9D8B030D-6E8A-4147-A177-3AD203B41FA5}">
                      <a16:colId xmlns:a16="http://schemas.microsoft.com/office/drawing/2014/main" val="1478235648"/>
                    </a:ext>
                  </a:extLst>
                </a:gridCol>
                <a:gridCol w="258106">
                  <a:extLst>
                    <a:ext uri="{9D8B030D-6E8A-4147-A177-3AD203B41FA5}">
                      <a16:colId xmlns:a16="http://schemas.microsoft.com/office/drawing/2014/main" val="3218902839"/>
                    </a:ext>
                  </a:extLst>
                </a:gridCol>
                <a:gridCol w="326937">
                  <a:extLst>
                    <a:ext uri="{9D8B030D-6E8A-4147-A177-3AD203B41FA5}">
                      <a16:colId xmlns:a16="http://schemas.microsoft.com/office/drawing/2014/main" val="584094416"/>
                    </a:ext>
                  </a:extLst>
                </a:gridCol>
                <a:gridCol w="326937">
                  <a:extLst>
                    <a:ext uri="{9D8B030D-6E8A-4147-A177-3AD203B41FA5}">
                      <a16:colId xmlns:a16="http://schemas.microsoft.com/office/drawing/2014/main" val="1990429126"/>
                    </a:ext>
                  </a:extLst>
                </a:gridCol>
                <a:gridCol w="326937">
                  <a:extLst>
                    <a:ext uri="{9D8B030D-6E8A-4147-A177-3AD203B41FA5}">
                      <a16:colId xmlns:a16="http://schemas.microsoft.com/office/drawing/2014/main" val="1374596117"/>
                    </a:ext>
                  </a:extLst>
                </a:gridCol>
                <a:gridCol w="344143">
                  <a:extLst>
                    <a:ext uri="{9D8B030D-6E8A-4147-A177-3AD203B41FA5}">
                      <a16:colId xmlns:a16="http://schemas.microsoft.com/office/drawing/2014/main" val="3145934581"/>
                    </a:ext>
                  </a:extLst>
                </a:gridCol>
                <a:gridCol w="258106">
                  <a:extLst>
                    <a:ext uri="{9D8B030D-6E8A-4147-A177-3AD203B41FA5}">
                      <a16:colId xmlns:a16="http://schemas.microsoft.com/office/drawing/2014/main" val="3986645466"/>
                    </a:ext>
                  </a:extLst>
                </a:gridCol>
                <a:gridCol w="258106">
                  <a:extLst>
                    <a:ext uri="{9D8B030D-6E8A-4147-A177-3AD203B41FA5}">
                      <a16:colId xmlns:a16="http://schemas.microsoft.com/office/drawing/2014/main" val="3392537507"/>
                    </a:ext>
                  </a:extLst>
                </a:gridCol>
                <a:gridCol w="275313">
                  <a:extLst>
                    <a:ext uri="{9D8B030D-6E8A-4147-A177-3AD203B41FA5}">
                      <a16:colId xmlns:a16="http://schemas.microsoft.com/office/drawing/2014/main" val="1142758406"/>
                    </a:ext>
                  </a:extLst>
                </a:gridCol>
                <a:gridCol w="258106">
                  <a:extLst>
                    <a:ext uri="{9D8B030D-6E8A-4147-A177-3AD203B41FA5}">
                      <a16:colId xmlns:a16="http://schemas.microsoft.com/office/drawing/2014/main" val="293089373"/>
                    </a:ext>
                  </a:extLst>
                </a:gridCol>
                <a:gridCol w="258106">
                  <a:extLst>
                    <a:ext uri="{9D8B030D-6E8A-4147-A177-3AD203B41FA5}">
                      <a16:colId xmlns:a16="http://schemas.microsoft.com/office/drawing/2014/main" val="3611063684"/>
                    </a:ext>
                  </a:extLst>
                </a:gridCol>
                <a:gridCol w="321201">
                  <a:extLst>
                    <a:ext uri="{9D8B030D-6E8A-4147-A177-3AD203B41FA5}">
                      <a16:colId xmlns:a16="http://schemas.microsoft.com/office/drawing/2014/main" val="1958982788"/>
                    </a:ext>
                  </a:extLst>
                </a:gridCol>
                <a:gridCol w="258106">
                  <a:extLst>
                    <a:ext uri="{9D8B030D-6E8A-4147-A177-3AD203B41FA5}">
                      <a16:colId xmlns:a16="http://schemas.microsoft.com/office/drawing/2014/main" val="2762443324"/>
                    </a:ext>
                  </a:extLst>
                </a:gridCol>
                <a:gridCol w="258106">
                  <a:extLst>
                    <a:ext uri="{9D8B030D-6E8A-4147-A177-3AD203B41FA5}">
                      <a16:colId xmlns:a16="http://schemas.microsoft.com/office/drawing/2014/main" val="164092359"/>
                    </a:ext>
                  </a:extLst>
                </a:gridCol>
                <a:gridCol w="258106">
                  <a:extLst>
                    <a:ext uri="{9D8B030D-6E8A-4147-A177-3AD203B41FA5}">
                      <a16:colId xmlns:a16="http://schemas.microsoft.com/office/drawing/2014/main" val="672993172"/>
                    </a:ext>
                  </a:extLst>
                </a:gridCol>
                <a:gridCol w="258106">
                  <a:extLst>
                    <a:ext uri="{9D8B030D-6E8A-4147-A177-3AD203B41FA5}">
                      <a16:colId xmlns:a16="http://schemas.microsoft.com/office/drawing/2014/main" val="3747489378"/>
                    </a:ext>
                  </a:extLst>
                </a:gridCol>
                <a:gridCol w="258106">
                  <a:extLst>
                    <a:ext uri="{9D8B030D-6E8A-4147-A177-3AD203B41FA5}">
                      <a16:colId xmlns:a16="http://schemas.microsoft.com/office/drawing/2014/main" val="167834522"/>
                    </a:ext>
                  </a:extLst>
                </a:gridCol>
                <a:gridCol w="258106">
                  <a:extLst>
                    <a:ext uri="{9D8B030D-6E8A-4147-A177-3AD203B41FA5}">
                      <a16:colId xmlns:a16="http://schemas.microsoft.com/office/drawing/2014/main" val="3968541034"/>
                    </a:ext>
                  </a:extLst>
                </a:gridCol>
                <a:gridCol w="252372">
                  <a:extLst>
                    <a:ext uri="{9D8B030D-6E8A-4147-A177-3AD203B41FA5}">
                      <a16:colId xmlns:a16="http://schemas.microsoft.com/office/drawing/2014/main" val="2700246728"/>
                    </a:ext>
                  </a:extLst>
                </a:gridCol>
                <a:gridCol w="326937">
                  <a:extLst>
                    <a:ext uri="{9D8B030D-6E8A-4147-A177-3AD203B41FA5}">
                      <a16:colId xmlns:a16="http://schemas.microsoft.com/office/drawing/2014/main" val="1613832304"/>
                    </a:ext>
                  </a:extLst>
                </a:gridCol>
                <a:gridCol w="344143">
                  <a:extLst>
                    <a:ext uri="{9D8B030D-6E8A-4147-A177-3AD203B41FA5}">
                      <a16:colId xmlns:a16="http://schemas.microsoft.com/office/drawing/2014/main" val="15442383"/>
                    </a:ext>
                  </a:extLst>
                </a:gridCol>
                <a:gridCol w="298257">
                  <a:extLst>
                    <a:ext uri="{9D8B030D-6E8A-4147-A177-3AD203B41FA5}">
                      <a16:colId xmlns:a16="http://schemas.microsoft.com/office/drawing/2014/main" val="3561859964"/>
                    </a:ext>
                  </a:extLst>
                </a:gridCol>
              </a:tblGrid>
              <a:tr h="227159"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0751225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280797616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1802688373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2298185912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3733561927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19573232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1243032338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2861897022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2121805486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3735268403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1632982396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1697792742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1245944170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267828487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3019101834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343087848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185998095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1647509051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2632033013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1457562096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1565673966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630724542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2653940978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3984087723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1941057181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2973655988"/>
                  </a:ext>
                </a:extLst>
              </a:tr>
              <a:tr h="2271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b"/>
                </a:tc>
                <a:extLst>
                  <a:ext uri="{0D108BD9-81ED-4DB2-BD59-A6C34878D82A}">
                    <a16:rowId xmlns:a16="http://schemas.microsoft.com/office/drawing/2014/main" val="29579130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1809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4C8632F_632C_4A4C_B8CB_FE053882C307&quot;,&quot;SourceFullName&quot;:&quot;&quot;,&quot;LastUpdate&quot;:&quot;2026-03-14 3:30 PM&quot;,&quot;UpdatedBy&quot;:&quot;Admin&quot;,&quot;IsLinked&quot;:false,&quot;IsBrokenLink&quot;:false,&quot;Type&quot;:2,&quot;ShapeId&quot;:0,&quot;WorksheetName&quot;:null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8</Words>
  <Application>Microsoft Office PowerPoint</Application>
  <PresentationFormat>Widescreen</PresentationFormat>
  <Paragraphs>4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>Admin</cp:lastModifiedBy>
  <cp:revision>1</cp:revision>
  <dcterms:created xsi:type="dcterms:W3CDTF">2026-03-16T10:51:56Z</dcterms:created>
  <dcterms:modified xsi:type="dcterms:W3CDTF">2026-03-16T10:52:33Z</dcterms:modified>
</cp:coreProperties>
</file>